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51" d="100"/>
          <a:sy n="51" d="100"/>
        </p:scale>
        <p:origin x="67" y="7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D$2:$D$244</c:f>
              <c:numCache>
                <c:formatCode>#,##0</c:formatCode>
                <c:ptCount val="243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70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1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4</c:v>
                </c:pt>
                <c:pt idx="207">
                  <c:v>879</c:v>
                </c:pt>
                <c:pt idx="208">
                  <c:v>863</c:v>
                </c:pt>
                <c:pt idx="209">
                  <c:v>867</c:v>
                </c:pt>
                <c:pt idx="210">
                  <c:v>841</c:v>
                </c:pt>
                <c:pt idx="211">
                  <c:v>813</c:v>
                </c:pt>
                <c:pt idx="212">
                  <c:v>793</c:v>
                </c:pt>
                <c:pt idx="213">
                  <c:v>765</c:v>
                </c:pt>
                <c:pt idx="214">
                  <c:v>728</c:v>
                </c:pt>
                <c:pt idx="215">
                  <c:v>717</c:v>
                </c:pt>
                <c:pt idx="216">
                  <c:v>714</c:v>
                </c:pt>
                <c:pt idx="217">
                  <c:v>734</c:v>
                </c:pt>
                <c:pt idx="218">
                  <c:v>709</c:v>
                </c:pt>
                <c:pt idx="219">
                  <c:v>675</c:v>
                </c:pt>
                <c:pt idx="220">
                  <c:v>632</c:v>
                </c:pt>
                <c:pt idx="221">
                  <c:v>609</c:v>
                </c:pt>
                <c:pt idx="222">
                  <c:v>610</c:v>
                </c:pt>
                <c:pt idx="223">
                  <c:v>601</c:v>
                </c:pt>
                <c:pt idx="224">
                  <c:v>579</c:v>
                </c:pt>
                <c:pt idx="225">
                  <c:v>545</c:v>
                </c:pt>
                <c:pt idx="226">
                  <c:v>527</c:v>
                </c:pt>
                <c:pt idx="227">
                  <c:v>521</c:v>
                </c:pt>
                <c:pt idx="228">
                  <c:v>494</c:v>
                </c:pt>
                <c:pt idx="229">
                  <c:v>500</c:v>
                </c:pt>
                <c:pt idx="230">
                  <c:v>496</c:v>
                </c:pt>
                <c:pt idx="231">
                  <c:v>481</c:v>
                </c:pt>
                <c:pt idx="232">
                  <c:v>470</c:v>
                </c:pt>
                <c:pt idx="233">
                  <c:v>420</c:v>
                </c:pt>
                <c:pt idx="234">
                  <c:v>403</c:v>
                </c:pt>
                <c:pt idx="235">
                  <c:v>379</c:v>
                </c:pt>
                <c:pt idx="236">
                  <c:v>373</c:v>
                </c:pt>
                <c:pt idx="237">
                  <c:v>362</c:v>
                </c:pt>
                <c:pt idx="238">
                  <c:v>358</c:v>
                </c:pt>
                <c:pt idx="239">
                  <c:v>329</c:v>
                </c:pt>
                <c:pt idx="240">
                  <c:v>294</c:v>
                </c:pt>
                <c:pt idx="241">
                  <c:v>271</c:v>
                </c:pt>
                <c:pt idx="242">
                  <c:v>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B$2:$B$244</c:f>
              <c:numCache>
                <c:formatCode>#,##0</c:formatCode>
                <c:ptCount val="243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C$2:$C$244</c:f>
              <c:numCache>
                <c:formatCode>#,##0</c:formatCode>
                <c:ptCount val="24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D$2:$D$244</c:f>
              <c:numCache>
                <c:formatCode>#,##0</c:formatCode>
                <c:ptCount val="243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2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2</c:v>
                </c:pt>
                <c:pt idx="140">
                  <c:v>2640</c:v>
                </c:pt>
                <c:pt idx="141">
                  <c:v>2595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69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39</c:v>
                </c:pt>
                <c:pt idx="207">
                  <c:v>3356</c:v>
                </c:pt>
                <c:pt idx="208">
                  <c:v>3386</c:v>
                </c:pt>
                <c:pt idx="209">
                  <c:v>3358</c:v>
                </c:pt>
                <c:pt idx="210">
                  <c:v>3284</c:v>
                </c:pt>
                <c:pt idx="211">
                  <c:v>3148</c:v>
                </c:pt>
                <c:pt idx="212">
                  <c:v>2999</c:v>
                </c:pt>
                <c:pt idx="213">
                  <c:v>2815</c:v>
                </c:pt>
                <c:pt idx="214">
                  <c:v>2772</c:v>
                </c:pt>
                <c:pt idx="215">
                  <c:v>2832</c:v>
                </c:pt>
                <c:pt idx="216">
                  <c:v>2845</c:v>
                </c:pt>
                <c:pt idx="217">
                  <c:v>3045</c:v>
                </c:pt>
                <c:pt idx="218">
                  <c:v>2869</c:v>
                </c:pt>
                <c:pt idx="219">
                  <c:v>2690</c:v>
                </c:pt>
                <c:pt idx="220">
                  <c:v>2418</c:v>
                </c:pt>
                <c:pt idx="221">
                  <c:v>2324</c:v>
                </c:pt>
                <c:pt idx="222">
                  <c:v>2339</c:v>
                </c:pt>
                <c:pt idx="223">
                  <c:v>2333</c:v>
                </c:pt>
                <c:pt idx="224">
                  <c:v>2239</c:v>
                </c:pt>
                <c:pt idx="225">
                  <c:v>2109</c:v>
                </c:pt>
                <c:pt idx="226">
                  <c:v>1933</c:v>
                </c:pt>
                <c:pt idx="227">
                  <c:v>1787</c:v>
                </c:pt>
                <c:pt idx="228">
                  <c:v>1750</c:v>
                </c:pt>
                <c:pt idx="229">
                  <c:v>1757</c:v>
                </c:pt>
                <c:pt idx="230">
                  <c:v>1812</c:v>
                </c:pt>
                <c:pt idx="231">
                  <c:v>1708</c:v>
                </c:pt>
                <c:pt idx="232">
                  <c:v>1616</c:v>
                </c:pt>
                <c:pt idx="233">
                  <c:v>1530</c:v>
                </c:pt>
                <c:pt idx="234">
                  <c:v>1431</c:v>
                </c:pt>
                <c:pt idx="235">
                  <c:v>1362</c:v>
                </c:pt>
                <c:pt idx="236">
                  <c:v>1361</c:v>
                </c:pt>
                <c:pt idx="237">
                  <c:v>1308</c:v>
                </c:pt>
                <c:pt idx="238">
                  <c:v>1284</c:v>
                </c:pt>
                <c:pt idx="239">
                  <c:v>1242</c:v>
                </c:pt>
                <c:pt idx="240">
                  <c:v>1184</c:v>
                </c:pt>
                <c:pt idx="241">
                  <c:v>1141</c:v>
                </c:pt>
                <c:pt idx="242">
                  <c:v>1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2"/>
              <c:layout>
                <c:manualLayout>
                  <c:x val="0"/>
                  <c:y val="-6.7358568222030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B$2:$B$244</c:f>
              <c:numCache>
                <c:formatCode>#,##0</c:formatCode>
                <c:ptCount val="243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C$2:$C$244</c:f>
              <c:numCache>
                <c:formatCode>#,##0</c:formatCode>
                <c:ptCount val="24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D$2:$D$244</c:f>
              <c:numCache>
                <c:formatCode>#,##0</c:formatCode>
                <c:ptCount val="2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B$2:$B$244</c:f>
              <c:numCache>
                <c:formatCode>#,##0</c:formatCode>
                <c:ptCount val="243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C$2:$C$244</c:f>
              <c:numCache>
                <c:formatCode>#,##0</c:formatCode>
                <c:ptCount val="24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D$2:$D$244</c:f>
              <c:numCache>
                <c:formatCode>#,##0</c:formatCode>
                <c:ptCount val="243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5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6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9</c:v>
                </c:pt>
                <c:pt idx="199">
                  <c:v>1819</c:v>
                </c:pt>
                <c:pt idx="200">
                  <c:v>1780</c:v>
                </c:pt>
                <c:pt idx="201">
                  <c:v>1804</c:v>
                </c:pt>
                <c:pt idx="202">
                  <c:v>1824</c:v>
                </c:pt>
                <c:pt idx="203">
                  <c:v>1776</c:v>
                </c:pt>
                <c:pt idx="204">
                  <c:v>1744</c:v>
                </c:pt>
                <c:pt idx="207">
                  <c:v>1645</c:v>
                </c:pt>
                <c:pt idx="208">
                  <c:v>1655</c:v>
                </c:pt>
                <c:pt idx="209">
                  <c:v>1665</c:v>
                </c:pt>
                <c:pt idx="210">
                  <c:v>1615</c:v>
                </c:pt>
                <c:pt idx="211">
                  <c:v>1556</c:v>
                </c:pt>
                <c:pt idx="212">
                  <c:v>1510</c:v>
                </c:pt>
                <c:pt idx="213">
                  <c:v>1428</c:v>
                </c:pt>
                <c:pt idx="214">
                  <c:v>1403</c:v>
                </c:pt>
                <c:pt idx="215">
                  <c:v>1383</c:v>
                </c:pt>
                <c:pt idx="216">
                  <c:v>1349</c:v>
                </c:pt>
                <c:pt idx="217">
                  <c:v>1399</c:v>
                </c:pt>
                <c:pt idx="218">
                  <c:v>1366</c:v>
                </c:pt>
                <c:pt idx="219">
                  <c:v>1317</c:v>
                </c:pt>
                <c:pt idx="220">
                  <c:v>1239</c:v>
                </c:pt>
                <c:pt idx="221">
                  <c:v>1223</c:v>
                </c:pt>
                <c:pt idx="222">
                  <c:v>1206</c:v>
                </c:pt>
                <c:pt idx="223">
                  <c:v>1192</c:v>
                </c:pt>
                <c:pt idx="224">
                  <c:v>1164</c:v>
                </c:pt>
                <c:pt idx="225">
                  <c:v>1120</c:v>
                </c:pt>
                <c:pt idx="226">
                  <c:v>1042</c:v>
                </c:pt>
                <c:pt idx="227">
                  <c:v>1020</c:v>
                </c:pt>
                <c:pt idx="228">
                  <c:v>979</c:v>
                </c:pt>
                <c:pt idx="229">
                  <c:v>982</c:v>
                </c:pt>
                <c:pt idx="230">
                  <c:v>1000</c:v>
                </c:pt>
                <c:pt idx="231">
                  <c:v>949</c:v>
                </c:pt>
                <c:pt idx="232">
                  <c:v>915</c:v>
                </c:pt>
                <c:pt idx="233">
                  <c:v>839</c:v>
                </c:pt>
                <c:pt idx="234">
                  <c:v>793</c:v>
                </c:pt>
                <c:pt idx="235">
                  <c:v>758</c:v>
                </c:pt>
                <c:pt idx="236">
                  <c:v>767</c:v>
                </c:pt>
                <c:pt idx="237">
                  <c:v>744</c:v>
                </c:pt>
                <c:pt idx="238">
                  <c:v>716</c:v>
                </c:pt>
                <c:pt idx="239">
                  <c:v>686</c:v>
                </c:pt>
                <c:pt idx="240">
                  <c:v>620</c:v>
                </c:pt>
                <c:pt idx="241">
                  <c:v>582</c:v>
                </c:pt>
                <c:pt idx="242">
                  <c:v>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B$2:$B$244</c:f>
              <c:numCache>
                <c:formatCode>#,##0</c:formatCode>
                <c:ptCount val="243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4</c:f>
              <c:numCache>
                <c:formatCode>m/d/yyyy</c:formatCode>
                <c:ptCount val="2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</c:numCache>
            </c:numRef>
          </c:cat>
          <c:val>
            <c:numRef>
              <c:f>Sheet1!$C$2:$C$244</c:f>
              <c:numCache>
                <c:formatCode>#,##0</c:formatCode>
                <c:ptCount val="24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2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2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2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2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62073691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63441899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04092703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98983926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33167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8673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19</TotalTime>
  <Words>1040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33</cp:revision>
  <dcterms:created xsi:type="dcterms:W3CDTF">2020-08-08T14:25:07Z</dcterms:created>
  <dcterms:modified xsi:type="dcterms:W3CDTF">2021-05-02T03:11:26Z</dcterms:modified>
</cp:coreProperties>
</file>